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4"/>
    <p:sldMasterId id="2147483727" r:id="rId5"/>
    <p:sldMasterId id="2147483754" r:id="rId6"/>
  </p:sldMasterIdLst>
  <p:notesMasterIdLst>
    <p:notesMasterId r:id="rId21"/>
  </p:notesMasterIdLst>
  <p:handoutMasterIdLst>
    <p:handoutMasterId r:id="rId22"/>
  </p:handoutMasterIdLst>
  <p:sldIdLst>
    <p:sldId id="564" r:id="rId7"/>
    <p:sldId id="575" r:id="rId8"/>
    <p:sldId id="576" r:id="rId9"/>
    <p:sldId id="577" r:id="rId10"/>
    <p:sldId id="578" r:id="rId11"/>
    <p:sldId id="579" r:id="rId12"/>
    <p:sldId id="580" r:id="rId13"/>
    <p:sldId id="581" r:id="rId14"/>
    <p:sldId id="582" r:id="rId15"/>
    <p:sldId id="583" r:id="rId16"/>
    <p:sldId id="585" r:id="rId17"/>
    <p:sldId id="586" r:id="rId18"/>
    <p:sldId id="587" r:id="rId19"/>
    <p:sldId id="588" r:id="rId20"/>
  </p:sldIdLst>
  <p:sldSz cx="9144000" cy="6858000" type="screen4x3"/>
  <p:notesSz cx="6797675" cy="9874250"/>
  <p:custDataLst>
    <p:tags r:id="rId2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210">
          <p15:clr>
            <a:srgbClr val="A4A3A4"/>
          </p15:clr>
        </p15:guide>
        <p15:guide id="4" orient="horz" pos="1979">
          <p15:clr>
            <a:srgbClr val="A4A3A4"/>
          </p15:clr>
        </p15:guide>
        <p15:guide id="5" orient="horz" pos="1706">
          <p15:clr>
            <a:srgbClr val="A4A3A4"/>
          </p15:clr>
        </p15:guide>
        <p15:guide id="6" orient="horz" pos="1797">
          <p15:clr>
            <a:srgbClr val="A4A3A4"/>
          </p15:clr>
        </p15:guide>
        <p15:guide id="7" orient="horz" pos="2069">
          <p15:clr>
            <a:srgbClr val="A4A3A4"/>
          </p15:clr>
        </p15:guide>
        <p15:guide id="8" pos="2789">
          <p15:clr>
            <a:srgbClr val="A4A3A4"/>
          </p15:clr>
        </p15:guide>
        <p15:guide id="9" pos="249">
          <p15:clr>
            <a:srgbClr val="A4A3A4"/>
          </p15:clr>
        </p15:guide>
        <p15:guide id="10" pos="5420">
          <p15:clr>
            <a:srgbClr val="A4A3A4"/>
          </p15:clr>
        </p15:guide>
        <p15:guide id="11" pos="2971">
          <p15:clr>
            <a:srgbClr val="A4A3A4"/>
          </p15:clr>
        </p15:guide>
        <p15:guide id="12" pos="1519">
          <p15:clr>
            <a:srgbClr val="A4A3A4"/>
          </p15:clr>
        </p15:guide>
        <p15:guide id="13" pos="340">
          <p15:clr>
            <a:srgbClr val="A4A3A4"/>
          </p15:clr>
        </p15:guide>
        <p15:guide id="14" pos="1655">
          <p15:clr>
            <a:srgbClr val="A4A3A4"/>
          </p15:clr>
        </p15:guide>
        <p15:guide id="15" pos="2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einzl" initials="ah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F7B00"/>
    <a:srgbClr val="6699FF"/>
    <a:srgbClr val="709533"/>
    <a:srgbClr val="FFFFFF"/>
    <a:srgbClr val="516C26"/>
    <a:srgbClr val="99C555"/>
    <a:srgbClr val="98C351"/>
    <a:srgbClr val="B5D482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488" autoAdjust="0"/>
    <p:restoredTop sz="96357" autoAdjust="0"/>
  </p:normalViewPr>
  <p:slideViewPr>
    <p:cSldViewPr>
      <p:cViewPr varScale="1">
        <p:scale>
          <a:sx n="86" d="100"/>
          <a:sy n="86" d="100"/>
        </p:scale>
        <p:origin x="1176" y="48"/>
      </p:cViewPr>
      <p:guideLst>
        <p:guide orient="horz" pos="4201"/>
        <p:guide orient="horz" pos="436"/>
        <p:guide orient="horz" pos="210"/>
        <p:guide orient="horz" pos="1979"/>
        <p:guide orient="horz" pos="1706"/>
        <p:guide orient="horz" pos="1797"/>
        <p:guide orient="horz" pos="2069"/>
        <p:guide pos="2789"/>
        <p:guide pos="249"/>
        <p:guide pos="5420"/>
        <p:guide pos="2971"/>
        <p:guide pos="1519"/>
        <p:guide pos="340"/>
        <p:guide pos="1655"/>
        <p:guide pos="22"/>
      </p:guideLst>
    </p:cSldViewPr>
  </p:slideViewPr>
  <p:outlineViewPr>
    <p:cViewPr>
      <p:scale>
        <a:sx n="33" d="100"/>
        <a:sy n="33" d="100"/>
      </p:scale>
      <p:origin x="0" y="200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41" d="100"/>
          <a:sy n="41" d="100"/>
        </p:scale>
        <p:origin x="2530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5765"/>
          </a:xfrm>
          <a:prstGeom prst="rect">
            <a:avLst/>
          </a:prstGeom>
        </p:spPr>
        <p:txBody>
          <a:bodyPr vert="horz" lIns="91139" tIns="45570" rIns="91139" bIns="4557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5765"/>
          </a:xfrm>
          <a:prstGeom prst="rect">
            <a:avLst/>
          </a:prstGeom>
        </p:spPr>
        <p:txBody>
          <a:bodyPr vert="horz" lIns="91139" tIns="45570" rIns="91139" bIns="45570" rtlCol="0"/>
          <a:lstStyle>
            <a:lvl1pPr algn="r">
              <a:defRPr sz="1200"/>
            </a:lvl1pPr>
          </a:lstStyle>
          <a:p>
            <a:fld id="{29820FEF-F89B-4FF4-990A-A7C423D0C992}" type="datetimeFigureOut">
              <a:rPr lang="de-DE" smtClean="0"/>
              <a:pPr/>
              <a:t>24.08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8485"/>
            <a:ext cx="2946400" cy="495765"/>
          </a:xfrm>
          <a:prstGeom prst="rect">
            <a:avLst/>
          </a:prstGeom>
        </p:spPr>
        <p:txBody>
          <a:bodyPr vert="horz" lIns="91139" tIns="45570" rIns="91139" bIns="4557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9" y="9378485"/>
            <a:ext cx="2946400" cy="495765"/>
          </a:xfrm>
          <a:prstGeom prst="rect">
            <a:avLst/>
          </a:prstGeom>
        </p:spPr>
        <p:txBody>
          <a:bodyPr vert="horz" lIns="91139" tIns="45570" rIns="91139" bIns="45570" rtlCol="0" anchor="b"/>
          <a:lstStyle>
            <a:lvl1pPr algn="r">
              <a:defRPr sz="1200"/>
            </a:lvl1pPr>
          </a:lstStyle>
          <a:p>
            <a:fld id="{B664D608-C282-4222-813A-0875E95B5E5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76291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0"/>
            <a:ext cx="2946135" cy="493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2" tIns="45366" rIns="90732" bIns="45366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955" y="0"/>
            <a:ext cx="2946135" cy="493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2" tIns="45366" rIns="90732" bIns="45366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3450" y="742950"/>
            <a:ext cx="4932363" cy="37004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248" y="4690308"/>
            <a:ext cx="5437187" cy="4442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2" tIns="45366" rIns="90732" bIns="453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379043"/>
            <a:ext cx="2946135" cy="49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2" tIns="45366" rIns="90732" bIns="45366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955" y="9379043"/>
            <a:ext cx="2946135" cy="493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2" tIns="45366" rIns="90732" bIns="4536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3DC6C19-B7FF-4656-B175-B81FCD39467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86459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98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66493" indent="-294806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79221" indent="-235845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50910" indent="-235845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22598" indent="-235845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94287" indent="-23584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65976" indent="-23584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37664" indent="-23584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09354" indent="-235845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39834E6-500A-49BA-96CB-1CD66CD49EE7}" type="slidenum">
              <a:rPr lang="de-DE" altLang="en-US" sz="1200"/>
              <a:pPr/>
              <a:t>1</a:t>
            </a:fld>
            <a:endParaRPr lang="de-DE" altLang="en-US" sz="1200"/>
          </a:p>
        </p:txBody>
      </p:sp>
    </p:spTree>
    <p:extLst>
      <p:ext uri="{BB962C8B-B14F-4D97-AF65-F5344CB8AC3E}">
        <p14:creationId xmlns:p14="http://schemas.microsoft.com/office/powerpoint/2010/main" val="40649703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jpg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gruen_verlau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669088"/>
            <a:ext cx="9144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2455863"/>
            <a:ext cx="8604250" cy="936625"/>
          </a:xfrm>
        </p:spPr>
        <p:txBody>
          <a:bodyPr/>
          <a:lstStyle>
            <a:lvl1pPr marL="542925" indent="-542925">
              <a:buFontTx/>
              <a:buBlip>
                <a:blip r:embed="rId3"/>
              </a:buBlip>
              <a:defRPr sz="3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68800" y="3390900"/>
            <a:ext cx="8035450" cy="43338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16632"/>
            <a:ext cx="936104" cy="5007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28587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43265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8665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bg>
      <p:bgPr>
        <a:solidFill>
          <a:srgbClr val="00B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67544" y="2492896"/>
            <a:ext cx="7886700" cy="132556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887925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2915816" cy="6858000"/>
          </a:xfrm>
          <a:solidFill>
            <a:srgbClr val="00B050"/>
          </a:solidFill>
        </p:spPr>
        <p:txBody>
          <a:bodyPr tIns="720000" anchor="t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28149" y="6652"/>
            <a:ext cx="6215851" cy="6851348"/>
          </a:xfrm>
        </p:spPr>
        <p:txBody>
          <a:bodyPr tIns="720000"/>
          <a:lstStyle>
            <a:lvl1pPr>
              <a:defRPr sz="3200">
                <a:solidFill>
                  <a:srgbClr val="00B050"/>
                </a:solidFill>
              </a:defRPr>
            </a:lvl1pPr>
            <a:lvl2pPr>
              <a:defRPr sz="2800">
                <a:solidFill>
                  <a:srgbClr val="00B050"/>
                </a:solidFill>
              </a:defRPr>
            </a:lvl2pPr>
            <a:lvl3pPr>
              <a:defRPr sz="2400">
                <a:solidFill>
                  <a:srgbClr val="00B050"/>
                </a:solidFill>
              </a:defRPr>
            </a:lvl3pPr>
            <a:lvl4pPr>
              <a:defRPr sz="2000">
                <a:solidFill>
                  <a:srgbClr val="00B050"/>
                </a:solidFill>
              </a:defRPr>
            </a:lvl4pPr>
            <a:lvl5pPr>
              <a:defRPr sz="2000">
                <a:solidFill>
                  <a:srgbClr val="00B050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8132" y="6453218"/>
            <a:ext cx="2820975" cy="331516"/>
            <a:chOff x="88132" y="6453218"/>
            <a:chExt cx="2820975" cy="331516"/>
          </a:xfrm>
          <a:solidFill>
            <a:schemeClr val="bg1">
              <a:alpha val="0"/>
            </a:schemeClr>
          </a:solidFill>
        </p:grpSpPr>
        <p:pic>
          <p:nvPicPr>
            <p:cNvPr id="9" name="Grafik 8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4651" y="6453218"/>
              <a:ext cx="1334456" cy="331516"/>
            </a:xfrm>
            <a:prstGeom prst="rect">
              <a:avLst/>
            </a:prstGeom>
            <a:grpFill/>
          </p:spPr>
        </p:pic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577" y="6453337"/>
              <a:ext cx="645198" cy="331397"/>
            </a:xfrm>
            <a:prstGeom prst="rect">
              <a:avLst/>
            </a:prstGeom>
            <a:grpFill/>
          </p:spPr>
        </p:pic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132" y="6453336"/>
              <a:ext cx="619569" cy="331398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25588863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67993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39602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55126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8257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40349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große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1871663"/>
            <a:ext cx="9144000" cy="19796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5" name="Picture 7" descr="gruen_verlau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669088"/>
            <a:ext cx="9144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Grafik 11" descr="schloss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750" y="1870075"/>
            <a:ext cx="8064500" cy="198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4292823"/>
            <a:ext cx="8604250" cy="936625"/>
          </a:xfrm>
        </p:spPr>
        <p:txBody>
          <a:bodyPr/>
          <a:lstStyle>
            <a:lvl1pPr marL="542925" indent="-542925">
              <a:buFontTx/>
              <a:buBlip>
                <a:blip r:embed="rId4"/>
              </a:buBlip>
              <a:defRPr sz="23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68800" y="5227860"/>
            <a:ext cx="8035450" cy="43338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16632"/>
            <a:ext cx="936104" cy="5007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15651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61363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80980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02979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bg>
      <p:bgPr>
        <a:solidFill>
          <a:srgbClr val="00B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467544" y="2492896"/>
            <a:ext cx="7886700" cy="1325563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18286624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2915816" cy="6858000"/>
          </a:xfrm>
          <a:solidFill>
            <a:srgbClr val="00B050"/>
          </a:solidFill>
        </p:spPr>
        <p:txBody>
          <a:bodyPr tIns="720000" anchor="t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928149" y="6652"/>
            <a:ext cx="6215851" cy="6851348"/>
          </a:xfrm>
        </p:spPr>
        <p:txBody>
          <a:bodyPr tIns="720000"/>
          <a:lstStyle>
            <a:lvl1pPr>
              <a:defRPr sz="3200">
                <a:solidFill>
                  <a:srgbClr val="00B050"/>
                </a:solidFill>
              </a:defRPr>
            </a:lvl1pPr>
            <a:lvl2pPr>
              <a:defRPr sz="2800">
                <a:solidFill>
                  <a:srgbClr val="00B050"/>
                </a:solidFill>
              </a:defRPr>
            </a:lvl2pPr>
            <a:lvl3pPr>
              <a:defRPr sz="2400">
                <a:solidFill>
                  <a:srgbClr val="00B050"/>
                </a:solidFill>
              </a:defRPr>
            </a:lvl3pPr>
            <a:lvl4pPr>
              <a:defRPr sz="2000">
                <a:solidFill>
                  <a:srgbClr val="00B050"/>
                </a:solidFill>
              </a:defRPr>
            </a:lvl4pPr>
            <a:lvl5pPr>
              <a:defRPr sz="2000">
                <a:solidFill>
                  <a:srgbClr val="00B050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8132" y="6453218"/>
            <a:ext cx="2820975" cy="331516"/>
            <a:chOff x="88132" y="6453218"/>
            <a:chExt cx="2820975" cy="331516"/>
          </a:xfrm>
          <a:solidFill>
            <a:schemeClr val="bg1">
              <a:alpha val="0"/>
            </a:schemeClr>
          </a:solidFill>
        </p:grpSpPr>
        <p:pic>
          <p:nvPicPr>
            <p:cNvPr id="9" name="Grafik 8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74651" y="6453218"/>
              <a:ext cx="1334456" cy="331516"/>
            </a:xfrm>
            <a:prstGeom prst="rect">
              <a:avLst/>
            </a:prstGeom>
            <a:grpFill/>
          </p:spPr>
        </p:pic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8577" y="6453337"/>
              <a:ext cx="645198" cy="331397"/>
            </a:xfrm>
            <a:prstGeom prst="rect">
              <a:avLst/>
            </a:prstGeom>
            <a:grpFill/>
          </p:spPr>
        </p:pic>
        <p:pic>
          <p:nvPicPr>
            <p:cNvPr id="11" name="Grafik 10"/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132" y="6453336"/>
              <a:ext cx="619569" cy="331398"/>
            </a:xfrm>
            <a:prstGeom prst="rect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val="34894956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68433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39797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5123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kleinem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gruen_verlau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669088"/>
            <a:ext cx="9144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Grafik 10" descr="schloss_farbig_cut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636838"/>
            <a:ext cx="2411413" cy="134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 userDrawn="1"/>
        </p:nvSpPr>
        <p:spPr>
          <a:xfrm>
            <a:off x="2303463" y="2636838"/>
            <a:ext cx="107950" cy="1349375"/>
          </a:xfrm>
          <a:prstGeom prst="rect">
            <a:avLst/>
          </a:prstGeom>
          <a:solidFill>
            <a:srgbClr val="EF7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28900" y="2780407"/>
            <a:ext cx="5975350" cy="936625"/>
          </a:xfrm>
        </p:spPr>
        <p:txBody>
          <a:bodyPr/>
          <a:lstStyle>
            <a:lvl1pPr marL="0" indent="0">
              <a:buFontTx/>
              <a:buNone/>
              <a:defRPr sz="27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27750" y="3573016"/>
            <a:ext cx="5976500" cy="360040"/>
          </a:xfrm>
        </p:spPr>
        <p:txBody>
          <a:bodyPr anchor="b"/>
          <a:lstStyle>
            <a:lvl1pPr>
              <a:defRPr sz="1500"/>
            </a:lvl1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16632"/>
            <a:ext cx="936104" cy="5007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Folie mit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2058988"/>
            <a:ext cx="4032250" cy="4394200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BF6BF1-DCA3-4BD3-AAFF-21AC5794A83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ile mit 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0" y="1268760"/>
            <a:ext cx="8604250" cy="719137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95288" y="2058988"/>
            <a:ext cx="8209160" cy="4394200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81D964-BCA4-4114-A609-C1637E919B0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2052638"/>
            <a:ext cx="161925" cy="647700"/>
          </a:xfrm>
          <a:prstGeom prst="rect">
            <a:avLst/>
          </a:prstGeom>
          <a:solidFill>
            <a:srgbClr val="8F9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" name="Rechteck 3"/>
          <p:cNvSpPr/>
          <p:nvPr userDrawn="1"/>
        </p:nvSpPr>
        <p:spPr>
          <a:xfrm>
            <a:off x="0" y="3284538"/>
            <a:ext cx="161925" cy="649287"/>
          </a:xfrm>
          <a:prstGeom prst="rect">
            <a:avLst/>
          </a:prstGeom>
          <a:solidFill>
            <a:srgbClr val="8F9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2847576"/>
            <a:ext cx="8208714" cy="719137"/>
          </a:xfrm>
        </p:spPr>
        <p:txBody>
          <a:bodyPr/>
          <a:lstStyle>
            <a:lvl1pPr marL="447675" indent="-447675">
              <a:defRPr sz="30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5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D9DB48-00EB-4E7F-849E-EE78D2287F5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38373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0222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86752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06473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0" descr="gruen_verlauf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6669088"/>
            <a:ext cx="9144000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1268413"/>
            <a:ext cx="860425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2058988"/>
            <a:ext cx="8208962" cy="439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140200" y="6700838"/>
            <a:ext cx="863600" cy="18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80B1166-6E21-4B83-BB65-7759AA18483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836613"/>
            <a:ext cx="9144000" cy="0"/>
          </a:xfrm>
          <a:prstGeom prst="line">
            <a:avLst/>
          </a:prstGeom>
          <a:ln w="9525">
            <a:solidFill>
              <a:srgbClr val="8F90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8" y="154460"/>
            <a:ext cx="936104" cy="50070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0" r:id="rId4"/>
    <p:sldLayoutId id="2147483721" r:id="rId5"/>
    <p:sldLayoutId id="2147483725" r:id="rId6"/>
  </p:sldLayoutIdLst>
  <p:hf hdr="0" ftr="0" dt="0"/>
  <p:txStyles>
    <p:titleStyle>
      <a:lvl1pPr marL="361950" indent="-3619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10"/>
        </a:buBlip>
        <a:defRPr sz="2200" b="1">
          <a:solidFill>
            <a:srgbClr val="99C555"/>
          </a:solidFill>
          <a:latin typeface="+mj-lt"/>
          <a:ea typeface="+mj-ea"/>
          <a:cs typeface="+mj-cs"/>
        </a:defRPr>
      </a:lvl1pPr>
      <a:lvl2pPr marL="361950" indent="-3619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10"/>
        </a:buBlip>
        <a:defRPr sz="2200" b="1">
          <a:solidFill>
            <a:srgbClr val="99C555"/>
          </a:solidFill>
          <a:latin typeface="Arial" charset="0"/>
          <a:cs typeface="Arial" charset="0"/>
        </a:defRPr>
      </a:lvl2pPr>
      <a:lvl3pPr marL="361950" indent="-3619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10"/>
        </a:buBlip>
        <a:defRPr sz="2200" b="1">
          <a:solidFill>
            <a:srgbClr val="99C555"/>
          </a:solidFill>
          <a:latin typeface="Arial" charset="0"/>
          <a:cs typeface="Arial" charset="0"/>
        </a:defRPr>
      </a:lvl3pPr>
      <a:lvl4pPr marL="361950" indent="-3619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10"/>
        </a:buBlip>
        <a:defRPr sz="2200" b="1">
          <a:solidFill>
            <a:srgbClr val="99C555"/>
          </a:solidFill>
          <a:latin typeface="Arial" charset="0"/>
          <a:cs typeface="Arial" charset="0"/>
        </a:defRPr>
      </a:lvl4pPr>
      <a:lvl5pPr marL="361950" indent="-3619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10"/>
        </a:buBlip>
        <a:defRPr sz="2200" b="1">
          <a:solidFill>
            <a:srgbClr val="99C555"/>
          </a:solidFill>
          <a:latin typeface="Arial" charset="0"/>
          <a:cs typeface="Arial" charset="0"/>
        </a:defRPr>
      </a:lvl5pPr>
      <a:lvl6pPr marL="819150" indent="-361950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10"/>
        </a:buBlip>
        <a:defRPr sz="2200" b="1">
          <a:solidFill>
            <a:srgbClr val="99C555"/>
          </a:solidFill>
          <a:latin typeface="Arial" charset="0"/>
          <a:cs typeface="Arial" charset="0"/>
        </a:defRPr>
      </a:lvl6pPr>
      <a:lvl7pPr marL="1276350" indent="-361950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10"/>
        </a:buBlip>
        <a:defRPr sz="2200" b="1">
          <a:solidFill>
            <a:srgbClr val="99C555"/>
          </a:solidFill>
          <a:latin typeface="Arial" charset="0"/>
          <a:cs typeface="Arial" charset="0"/>
        </a:defRPr>
      </a:lvl7pPr>
      <a:lvl8pPr marL="1733550" indent="-361950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10"/>
        </a:buBlip>
        <a:defRPr sz="2200" b="1">
          <a:solidFill>
            <a:srgbClr val="99C555"/>
          </a:solidFill>
          <a:latin typeface="Arial" charset="0"/>
          <a:cs typeface="Arial" charset="0"/>
        </a:defRPr>
      </a:lvl8pPr>
      <a:lvl9pPr marL="2190750" indent="-361950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EF7B00"/>
        </a:buClr>
        <a:buSzPct val="135000"/>
        <a:buFont typeface="Wingdings" pitchFamily="2" charset="2"/>
        <a:buBlip>
          <a:blip r:embed="rId10"/>
        </a:buBlip>
        <a:defRPr sz="2200" b="1">
          <a:solidFill>
            <a:srgbClr val="99C555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defRPr sz="1700">
          <a:solidFill>
            <a:srgbClr val="8F9092"/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8F9092"/>
          </a:solidFill>
          <a:latin typeface="+mn-lt"/>
          <a:cs typeface="+mn-cs"/>
        </a:defRPr>
      </a:lvl2pPr>
      <a:lvl3pPr marL="898525" indent="-180975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8F9092"/>
          </a:solidFill>
          <a:latin typeface="+mn-lt"/>
          <a:cs typeface="+mn-cs"/>
        </a:defRPr>
      </a:lvl3pPr>
      <a:lvl4pPr marL="1257300" indent="-179388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8F9092"/>
          </a:solidFill>
          <a:latin typeface="+mn-lt"/>
          <a:cs typeface="+mn-cs"/>
        </a:defRPr>
      </a:lvl4pPr>
      <a:lvl5pPr marL="1611313" indent="-174625" algn="l" rtl="0" eaLnBrk="0" fontAlgn="base" hangingPunct="0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8F9092"/>
          </a:solidFill>
          <a:latin typeface="+mn-lt"/>
          <a:cs typeface="+mn-cs"/>
        </a:defRPr>
      </a:lvl5pPr>
      <a:lvl6pPr marL="2068513" indent="-174625" algn="l" rtl="0" fontAlgn="base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8F9092"/>
          </a:solidFill>
          <a:latin typeface="+mn-lt"/>
          <a:cs typeface="+mn-cs"/>
        </a:defRPr>
      </a:lvl6pPr>
      <a:lvl7pPr marL="2525713" indent="-174625" algn="l" rtl="0" fontAlgn="base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8F9092"/>
          </a:solidFill>
          <a:latin typeface="+mn-lt"/>
          <a:cs typeface="+mn-cs"/>
        </a:defRPr>
      </a:lvl7pPr>
      <a:lvl8pPr marL="2982913" indent="-174625" algn="l" rtl="0" fontAlgn="base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8F9092"/>
          </a:solidFill>
          <a:latin typeface="+mn-lt"/>
          <a:cs typeface="+mn-cs"/>
        </a:defRPr>
      </a:lvl8pPr>
      <a:lvl9pPr marL="3440113" indent="-174625" algn="l" rtl="0" fontAlgn="base">
        <a:lnSpc>
          <a:spcPct val="120000"/>
        </a:lnSpc>
        <a:spcBef>
          <a:spcPct val="50000"/>
        </a:spcBef>
        <a:spcAft>
          <a:spcPct val="0"/>
        </a:spcAft>
        <a:buClr>
          <a:srgbClr val="EF7B00"/>
        </a:buClr>
        <a:buFont typeface="Wingdings" pitchFamily="2" charset="2"/>
        <a:buChar char="§"/>
        <a:defRPr sz="1700">
          <a:solidFill>
            <a:srgbClr val="8F9092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29119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Folie" r:id="rId15" imgW="344" imgH="345" progId="TCLayout.ActiveDocument.1">
                  <p:embed/>
                </p:oleObj>
              </mc:Choice>
              <mc:Fallback>
                <p:oleObj name="think-cell Folie" r:id="rId1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305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Folie" r:id="rId15" imgW="344" imgH="345" progId="TCLayout.ActiveDocument.1">
                  <p:embed/>
                </p:oleObj>
              </mc:Choice>
              <mc:Fallback>
                <p:oleObj name="think-cell Folie" r:id="rId1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17FDAD-25A7-4071-B7ED-77F683AC9951}" type="datetimeFigureOut">
              <a:rPr lang="de-DE" smtClean="0"/>
              <a:t>24.08.202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C24759-3E25-438B-84BC-C2A1D18191D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1872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.png"/><Relationship Id="rId7" Type="http://schemas.openxmlformats.org/officeDocument/2006/relationships/image" Target="../media/image14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5" Type="http://schemas.microsoft.com/office/2007/relationships/hdphoto" Target="../media/hdphoto1.wdp"/><Relationship Id="rId4" Type="http://schemas.openxmlformats.org/officeDocument/2006/relationships/image" Target="../media/image12.png"/><Relationship Id="rId9" Type="http://schemas.openxmlformats.org/officeDocument/2006/relationships/image" Target="../media/image1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3"/>
          <p:cNvSpPr>
            <a:spLocks noGrp="1"/>
          </p:cNvSpPr>
          <p:nvPr>
            <p:ph type="ctrTitle"/>
          </p:nvPr>
        </p:nvSpPr>
        <p:spPr>
          <a:xfrm>
            <a:off x="0" y="4292600"/>
            <a:ext cx="8604250" cy="936625"/>
          </a:xfrm>
        </p:spPr>
        <p:txBody>
          <a:bodyPr/>
          <a:lstStyle/>
          <a:p>
            <a:pPr eaLnBrk="1" hangingPunct="1"/>
            <a:r>
              <a:rPr lang="en-US" sz="2400" dirty="0"/>
              <a:t>Towards Trace-Graphs for Data-driven Test Case</a:t>
            </a:r>
            <a:br>
              <a:rPr lang="en-US" sz="2400" dirty="0"/>
            </a:br>
            <a:r>
              <a:rPr lang="en-US" sz="2400" dirty="0"/>
              <a:t>Mining in the Domain of Automated Driving</a:t>
            </a:r>
            <a:br>
              <a:rPr lang="de-DE" altLang="en-US" dirty="0"/>
            </a:br>
            <a:br>
              <a:rPr lang="de-DE" altLang="en-US" dirty="0"/>
            </a:br>
            <a:endParaRPr lang="de-DE" altLang="en-US" dirty="0"/>
          </a:p>
        </p:txBody>
      </p:sp>
      <p:sp>
        <p:nvSpPr>
          <p:cNvPr id="6147" name="Untertitel 4"/>
          <p:cNvSpPr>
            <a:spLocks noGrp="1"/>
          </p:cNvSpPr>
          <p:nvPr>
            <p:ph type="subTitle" idx="1"/>
          </p:nvPr>
        </p:nvSpPr>
        <p:spPr>
          <a:xfrm>
            <a:off x="568325" y="5475040"/>
            <a:ext cx="8035925" cy="1382960"/>
          </a:xfrm>
        </p:spPr>
        <p:txBody>
          <a:bodyPr/>
          <a:lstStyle/>
          <a:p>
            <a:r>
              <a:rPr lang="de-DE" sz="1600" dirty="0"/>
              <a:t>Noah Metzger, Lars Hoffmann, Christian Bartelt, Heiner Stuckenschmidt, Michael Wommer, Maria Belen Bescos del Castill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2F64EB7-7C7F-4925-B575-7831B2C3B1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59223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8206A0C-8112-4CB9-ADE3-C8810A9D910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0746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proach – Parameter </a:t>
            </a:r>
            <a:r>
              <a:rPr lang="de-DE" dirty="0" err="1"/>
              <a:t>Discretization</a:t>
            </a:r>
            <a:r>
              <a:rPr lang="de-DE" dirty="0"/>
              <a:t> Model – Phase 2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2058988"/>
            <a:ext cx="8209160" cy="43942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Evaluation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resulting</a:t>
            </a:r>
            <a:r>
              <a:rPr lang="de-DE" sz="1800" dirty="0"/>
              <a:t> </a:t>
            </a:r>
            <a:r>
              <a:rPr lang="de-DE" sz="1800" dirty="0" err="1"/>
              <a:t>Discretization</a:t>
            </a:r>
            <a:r>
              <a:rPr lang="de-DE" sz="1800" dirty="0"/>
              <a:t> Model </a:t>
            </a:r>
            <a:r>
              <a:rPr lang="de-DE" sz="1800" dirty="0" err="1"/>
              <a:t>based</a:t>
            </a:r>
            <a:r>
              <a:rPr lang="de-DE" sz="1800" dirty="0"/>
              <a:t> on </a:t>
            </a:r>
            <a:r>
              <a:rPr lang="de-DE" sz="1800" dirty="0" err="1"/>
              <a:t>specified</a:t>
            </a:r>
            <a:r>
              <a:rPr lang="de-DE" sz="1800" dirty="0"/>
              <a:t> </a:t>
            </a:r>
            <a:r>
              <a:rPr lang="de-DE" sz="1800" dirty="0" err="1"/>
              <a:t>similarities</a:t>
            </a:r>
            <a:endParaRPr lang="de-DE" sz="18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Crossover and </a:t>
            </a:r>
            <a:r>
              <a:rPr lang="de-DE" sz="1800" dirty="0" err="1"/>
              <a:t>mutation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next</a:t>
            </a:r>
            <a:r>
              <a:rPr lang="de-DE" sz="1800" dirty="0"/>
              <a:t> </a:t>
            </a:r>
            <a:r>
              <a:rPr lang="de-DE" sz="1800" dirty="0" err="1"/>
              <a:t>generation</a:t>
            </a:r>
            <a:endParaRPr lang="de-DE" sz="18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Repeat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procedure</a:t>
            </a:r>
            <a:r>
              <a:rPr lang="de-DE" sz="1800" dirty="0"/>
              <a:t> </a:t>
            </a:r>
            <a:r>
              <a:rPr lang="de-DE" sz="1800" dirty="0" err="1"/>
              <a:t>until</a:t>
            </a:r>
            <a:r>
              <a:rPr lang="de-DE" sz="1800" dirty="0"/>
              <a:t> </a:t>
            </a:r>
            <a:r>
              <a:rPr lang="de-DE" sz="1800" dirty="0" err="1"/>
              <a:t>only</a:t>
            </a:r>
            <a:r>
              <a:rPr lang="de-DE" sz="1800" dirty="0"/>
              <a:t> </a:t>
            </a:r>
            <a:r>
              <a:rPr lang="de-DE" sz="1800" dirty="0" err="1"/>
              <a:t>one</a:t>
            </a:r>
            <a:r>
              <a:rPr lang="de-DE" sz="1800" dirty="0"/>
              <a:t> </a:t>
            </a:r>
            <a:r>
              <a:rPr lang="de-DE" sz="1800" dirty="0" err="1"/>
              <a:t>species</a:t>
            </a:r>
            <a:r>
              <a:rPr lang="de-DE" sz="1800" dirty="0"/>
              <a:t> </a:t>
            </a:r>
            <a:r>
              <a:rPr lang="de-DE" sz="1800" dirty="0" err="1"/>
              <a:t>remain</a:t>
            </a:r>
            <a:endParaRPr lang="de-DE" sz="1800" dirty="0"/>
          </a:p>
          <a:p>
            <a:pPr>
              <a:buFont typeface="Arial" panose="020B0604020202020204" pitchFamily="34" charset="0"/>
              <a:buChar char="•"/>
            </a:pPr>
            <a:endParaRPr lang="de-DE" sz="1800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9763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valuation - Dat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2058988"/>
            <a:ext cx="8209160" cy="43942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All </a:t>
            </a:r>
            <a:r>
              <a:rPr lang="de-DE" dirty="0" err="1"/>
              <a:t>drive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valuation</a:t>
            </a:r>
            <a:r>
              <a:rPr lang="de-DE" dirty="0"/>
              <a:t>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been</a:t>
            </a:r>
            <a:r>
              <a:rPr lang="de-DE" dirty="0"/>
              <a:t> </a:t>
            </a:r>
            <a:r>
              <a:rPr lang="de-DE" dirty="0" err="1"/>
              <a:t>performed</a:t>
            </a:r>
            <a:r>
              <a:rPr lang="de-DE" dirty="0"/>
              <a:t> on German </a:t>
            </a:r>
            <a:r>
              <a:rPr lang="de-DE" dirty="0" err="1"/>
              <a:t>roads</a:t>
            </a:r>
            <a:r>
              <a:rPr lang="de-DE" dirty="0"/>
              <a:t> and </a:t>
            </a:r>
            <a:r>
              <a:rPr lang="de-DE" dirty="0" err="1"/>
              <a:t>highways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5 Reference Drives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been</a:t>
            </a:r>
            <a:r>
              <a:rPr lang="de-DE" dirty="0"/>
              <a:t> </a:t>
            </a:r>
            <a:r>
              <a:rPr lang="de-DE" dirty="0" err="1"/>
              <a:t>perform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same route and </a:t>
            </a:r>
            <a:r>
              <a:rPr lang="de-DE" dirty="0" err="1"/>
              <a:t>und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ame </a:t>
            </a:r>
            <a:r>
              <a:rPr lang="de-DE" dirty="0" err="1"/>
              <a:t>conditions</a:t>
            </a: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2 Free Drive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2 Hypothesi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err="1"/>
              <a:t>Refence</a:t>
            </a:r>
            <a:r>
              <a:rPr lang="de-DE" dirty="0"/>
              <a:t> Drives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ach</a:t>
            </a:r>
            <a:r>
              <a:rPr lang="de-DE" dirty="0"/>
              <a:t> </a:t>
            </a:r>
            <a:r>
              <a:rPr lang="de-DE" dirty="0" err="1"/>
              <a:t>other</a:t>
            </a: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Free Drives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show</a:t>
            </a:r>
            <a:r>
              <a:rPr lang="de-DE" dirty="0"/>
              <a:t> strong </a:t>
            </a:r>
            <a:r>
              <a:rPr lang="de-DE" dirty="0" err="1"/>
              <a:t>differenc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ree</a:t>
            </a:r>
            <a:r>
              <a:rPr lang="de-DE" dirty="0"/>
              <a:t> Drives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1800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0020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valuation - Desig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2058988"/>
            <a:ext cx="8209160" cy="43942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de-DE" sz="1800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  <p:pic>
        <p:nvPicPr>
          <p:cNvPr id="7" name="Inhaltsplatzhalter 5">
            <a:extLst>
              <a:ext uri="{FF2B5EF4-FFF2-40B4-BE49-F238E27FC236}">
                <a16:creationId xmlns:a16="http://schemas.microsoft.com/office/drawing/2014/main" id="{FD38909C-1E87-420E-A989-4CBF0DF209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59241" y="2132856"/>
            <a:ext cx="6825518" cy="3864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8903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valuation - </a:t>
            </a:r>
            <a:r>
              <a:rPr lang="de-DE" dirty="0" err="1"/>
              <a:t>Result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2058988"/>
            <a:ext cx="8209160" cy="43942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de-DE" sz="1800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89CC3A2-6A6B-4621-ABCC-FBE2D3BA9C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044" y="1916832"/>
            <a:ext cx="7261767" cy="4402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8241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valuation - </a:t>
            </a:r>
            <a:r>
              <a:rPr lang="de-DE" dirty="0" err="1"/>
              <a:t>Result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2058988"/>
            <a:ext cx="8209160" cy="43942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de-DE" sz="1800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0333B285-023E-4EBA-BA8C-676CC1D414A3}"/>
              </a:ext>
            </a:extLst>
          </p:cNvPr>
          <p:cNvSpPr txBox="1"/>
          <p:nvPr/>
        </p:nvSpPr>
        <p:spPr>
          <a:xfrm>
            <a:off x="1151620" y="3421585"/>
            <a:ext cx="68407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dirty="0" err="1"/>
              <a:t>Thank</a:t>
            </a:r>
            <a:r>
              <a:rPr lang="de-DE" sz="3600" dirty="0"/>
              <a:t> </a:t>
            </a:r>
            <a:r>
              <a:rPr lang="de-DE" sz="3600" dirty="0" err="1"/>
              <a:t>You</a:t>
            </a:r>
            <a:r>
              <a:rPr lang="de-DE" sz="3600" dirty="0"/>
              <a:t> </a:t>
            </a:r>
            <a:r>
              <a:rPr lang="de-DE" sz="3600" dirty="0" err="1"/>
              <a:t>for</a:t>
            </a:r>
            <a:r>
              <a:rPr lang="de-DE" sz="3600" dirty="0"/>
              <a:t> </a:t>
            </a:r>
            <a:r>
              <a:rPr lang="de-DE" sz="3600" dirty="0" err="1"/>
              <a:t>Your</a:t>
            </a:r>
            <a:r>
              <a:rPr lang="de-DE" sz="3600" dirty="0"/>
              <a:t> Attention</a:t>
            </a:r>
          </a:p>
        </p:txBody>
      </p:sp>
    </p:spTree>
    <p:extLst>
      <p:ext uri="{BB962C8B-B14F-4D97-AF65-F5344CB8AC3E}">
        <p14:creationId xmlns:p14="http://schemas.microsoft.com/office/powerpoint/2010/main" val="27515639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2800" dirty="0"/>
              <a:t>Motiv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800" dirty="0"/>
              <a:t>Approac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800" dirty="0"/>
              <a:t>Evalu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800" dirty="0" err="1"/>
              <a:t>Discussion</a:t>
            </a:r>
            <a:endParaRPr lang="de-DE" sz="2800" dirty="0"/>
          </a:p>
          <a:p>
            <a:pPr marL="0" indent="0"/>
            <a:endParaRPr lang="de-DE" b="1" dirty="0"/>
          </a:p>
          <a:p>
            <a:pPr marL="0" indent="0"/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7020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tiva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2000" dirty="0"/>
              <a:t>Traditional </a:t>
            </a:r>
            <a:r>
              <a:rPr lang="de-DE" sz="2000" dirty="0" err="1"/>
              <a:t>testing</a:t>
            </a:r>
            <a:r>
              <a:rPr lang="de-DE" sz="2000" dirty="0"/>
              <a:t> </a:t>
            </a:r>
            <a:r>
              <a:rPr lang="de-DE" sz="2000" dirty="0" err="1"/>
              <a:t>approaches</a:t>
            </a:r>
            <a:r>
              <a:rPr lang="de-DE" sz="2000" dirty="0"/>
              <a:t> </a:t>
            </a:r>
            <a:r>
              <a:rPr lang="de-DE" sz="2000" dirty="0" err="1"/>
              <a:t>are</a:t>
            </a:r>
            <a:r>
              <a:rPr lang="de-DE" sz="2000" dirty="0"/>
              <a:t> not </a:t>
            </a:r>
            <a:r>
              <a:rPr lang="de-DE" sz="2000" dirty="0" err="1"/>
              <a:t>well</a:t>
            </a:r>
            <a:r>
              <a:rPr lang="de-DE" sz="2000" dirty="0"/>
              <a:t> </a:t>
            </a:r>
            <a:r>
              <a:rPr lang="de-DE" sz="2000" dirty="0" err="1"/>
              <a:t>fitted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autonomous</a:t>
            </a:r>
            <a:r>
              <a:rPr lang="de-DE" sz="2000" dirty="0"/>
              <a:t> </a:t>
            </a:r>
            <a:r>
              <a:rPr lang="de-DE" sz="2000" dirty="0" err="1"/>
              <a:t>driving</a:t>
            </a:r>
            <a:endParaRPr lang="de-DE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 err="1"/>
              <a:t>Current</a:t>
            </a:r>
            <a:r>
              <a:rPr lang="de-DE" sz="2000" dirty="0"/>
              <a:t> </a:t>
            </a:r>
            <a:r>
              <a:rPr lang="de-DE" sz="2000" dirty="0" err="1"/>
              <a:t>approaches</a:t>
            </a:r>
            <a:r>
              <a:rPr lang="de-DE" sz="2000" dirty="0"/>
              <a:t> like </a:t>
            </a:r>
            <a:r>
              <a:rPr lang="de-DE" sz="2000" dirty="0" err="1"/>
              <a:t>accumulating</a:t>
            </a:r>
            <a:r>
              <a:rPr lang="de-DE" sz="2000" dirty="0"/>
              <a:t> </a:t>
            </a:r>
            <a:r>
              <a:rPr lang="de-DE" sz="2000" dirty="0" err="1"/>
              <a:t>certain</a:t>
            </a:r>
            <a:r>
              <a:rPr lang="de-DE" sz="2000" dirty="0"/>
              <a:t> test-</a:t>
            </a:r>
            <a:r>
              <a:rPr lang="de-DE" sz="2000" dirty="0" err="1"/>
              <a:t>mile</a:t>
            </a:r>
            <a:r>
              <a:rPr lang="de-DE" sz="2000" dirty="0"/>
              <a:t> </a:t>
            </a:r>
            <a:r>
              <a:rPr lang="de-DE" sz="2000" dirty="0" err="1"/>
              <a:t>thresholds</a:t>
            </a:r>
            <a:r>
              <a:rPr lang="de-DE" sz="2000" dirty="0"/>
              <a:t> </a:t>
            </a:r>
            <a:r>
              <a:rPr lang="de-DE" sz="2000" dirty="0" err="1"/>
              <a:t>is</a:t>
            </a:r>
            <a:r>
              <a:rPr lang="de-DE" sz="2000" dirty="0"/>
              <a:t> </a:t>
            </a:r>
            <a:r>
              <a:rPr lang="de-DE" sz="2000" dirty="0" err="1"/>
              <a:t>cost</a:t>
            </a:r>
            <a:r>
              <a:rPr lang="de-DE" sz="2000" dirty="0"/>
              <a:t> – and time-</a:t>
            </a:r>
            <a:r>
              <a:rPr lang="de-DE" sz="2000" dirty="0" err="1"/>
              <a:t>inefficient</a:t>
            </a:r>
            <a:endParaRPr lang="de-DE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/>
              <a:t>Simulation </a:t>
            </a:r>
            <a:r>
              <a:rPr lang="de-DE" sz="2000" dirty="0" err="1"/>
              <a:t>approaches</a:t>
            </a:r>
            <a:r>
              <a:rPr lang="de-DE" sz="2000" dirty="0"/>
              <a:t> </a:t>
            </a:r>
            <a:r>
              <a:rPr lang="de-DE" sz="2000" dirty="0" err="1"/>
              <a:t>need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be</a:t>
            </a:r>
            <a:r>
              <a:rPr lang="de-DE" sz="2000" dirty="0"/>
              <a:t> </a:t>
            </a:r>
            <a:r>
              <a:rPr lang="de-DE" sz="2000" dirty="0" err="1"/>
              <a:t>well</a:t>
            </a:r>
            <a:r>
              <a:rPr lang="de-DE" sz="2000" dirty="0"/>
              <a:t> </a:t>
            </a:r>
            <a:r>
              <a:rPr lang="de-DE" sz="2000" dirty="0" err="1"/>
              <a:t>designed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compensate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real road-</a:t>
            </a:r>
            <a:r>
              <a:rPr lang="de-DE" sz="2000" dirty="0" err="1"/>
              <a:t>testing</a:t>
            </a:r>
            <a:endParaRPr lang="de-DE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 err="1"/>
              <a:t>How</a:t>
            </a:r>
            <a:r>
              <a:rPr lang="de-DE" sz="2000" dirty="0"/>
              <a:t> </a:t>
            </a:r>
            <a:r>
              <a:rPr lang="de-DE" sz="2000" dirty="0" err="1"/>
              <a:t>can</a:t>
            </a:r>
            <a:r>
              <a:rPr lang="de-DE" sz="2000" dirty="0"/>
              <a:t> </a:t>
            </a:r>
            <a:r>
              <a:rPr lang="de-DE" sz="2000" dirty="0" err="1"/>
              <a:t>we</a:t>
            </a:r>
            <a:r>
              <a:rPr lang="de-DE" sz="2000" dirty="0"/>
              <a:t> </a:t>
            </a:r>
            <a:r>
              <a:rPr lang="de-DE" sz="2000" dirty="0" err="1"/>
              <a:t>discretize</a:t>
            </a:r>
            <a:r>
              <a:rPr lang="de-DE" sz="2000" dirty="0"/>
              <a:t> and </a:t>
            </a:r>
            <a:r>
              <a:rPr lang="de-DE" sz="2000" dirty="0" err="1"/>
              <a:t>quantify</a:t>
            </a:r>
            <a:r>
              <a:rPr lang="de-DE" sz="2000" dirty="0"/>
              <a:t> real-</a:t>
            </a:r>
            <a:r>
              <a:rPr lang="de-DE" sz="2000" dirty="0" err="1"/>
              <a:t>world</a:t>
            </a:r>
            <a:r>
              <a:rPr lang="de-DE" sz="2000" dirty="0"/>
              <a:t> </a:t>
            </a:r>
            <a:r>
              <a:rPr lang="de-DE" sz="2000" dirty="0" err="1"/>
              <a:t>scenarios</a:t>
            </a:r>
            <a:r>
              <a:rPr lang="de-DE" sz="2000" dirty="0"/>
              <a:t> </a:t>
            </a:r>
          </a:p>
          <a:p>
            <a:pPr>
              <a:buFont typeface="Arial" panose="020B0604020202020204" pitchFamily="34" charset="0"/>
              <a:buChar char="•"/>
            </a:pPr>
            <a:endParaRPr lang="de-DE" sz="2800" dirty="0"/>
          </a:p>
          <a:p>
            <a:pPr marL="0" indent="0"/>
            <a:endParaRPr lang="de-DE" b="1" dirty="0"/>
          </a:p>
          <a:p>
            <a:pPr marL="0" indent="0"/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83830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proach – Dat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b="1" dirty="0"/>
          </a:p>
          <a:p>
            <a:pPr marL="0" indent="0"/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  <p:pic>
        <p:nvPicPr>
          <p:cNvPr id="7" name="Picture 2" descr="C:\Users\mwm2si\AppData\Local\Microsoft\Windows\INetCache\Content.MSO\4879E537.tmp">
            <a:extLst>
              <a:ext uri="{FF2B5EF4-FFF2-40B4-BE49-F238E27FC236}">
                <a16:creationId xmlns:a16="http://schemas.microsoft.com/office/drawing/2014/main" id="{7E83EB9D-3DD9-4E7E-B6C3-EDC807F330F6}"/>
              </a:ext>
            </a:extLst>
          </p:cNvPr>
          <p:cNvPicPr/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428605"/>
            <a:ext cx="7776666" cy="161766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8" descr="Datenbank">
            <a:extLst>
              <a:ext uri="{FF2B5EF4-FFF2-40B4-BE49-F238E27FC236}">
                <a16:creationId xmlns:a16="http://schemas.microsoft.com/office/drawing/2014/main" id="{1C06D395-A772-44C0-ACF0-97725F75D6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07437" y="4645749"/>
            <a:ext cx="914400" cy="914400"/>
          </a:xfrm>
          <a:prstGeom prst="rect">
            <a:avLst/>
          </a:prstGeom>
        </p:spPr>
      </p:pic>
      <p:pic>
        <p:nvPicPr>
          <p:cNvPr id="11" name="Grafik 10" descr="Pfeil: Kurve gegen den Uhrzeigersinn">
            <a:extLst>
              <a:ext uri="{FF2B5EF4-FFF2-40B4-BE49-F238E27FC236}">
                <a16:creationId xmlns:a16="http://schemas.microsoft.com/office/drawing/2014/main" id="{E34F3E7A-69B5-40E4-A235-34047E8284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3952340" y="375271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684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proach – Trace Graph Transformatio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2058988"/>
            <a:ext cx="8209160" cy="43942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b="1" dirty="0"/>
          </a:p>
          <a:p>
            <a:pPr marL="0" indent="0"/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42CFF1A-4078-4B57-823B-0BB7250164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592" y="2852936"/>
            <a:ext cx="8388672" cy="2415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1972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proach – Trace Graph Coverag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2058988"/>
            <a:ext cx="8209160" cy="43942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b="1" dirty="0"/>
          </a:p>
          <a:p>
            <a:pPr marL="0" indent="0"/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9C5AB12-AED0-4182-9D82-32343A6C4E1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756" y="3212976"/>
            <a:ext cx="7668344" cy="1827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8761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proach – Parameter </a:t>
            </a:r>
            <a:r>
              <a:rPr lang="de-DE" dirty="0" err="1"/>
              <a:t>Discretization</a:t>
            </a:r>
            <a:r>
              <a:rPr lang="de-DE" dirty="0"/>
              <a:t> Model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2058988"/>
            <a:ext cx="8209160" cy="43942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b="1" dirty="0"/>
          </a:p>
          <a:p>
            <a:pPr marL="0" indent="0"/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7E317C0-E309-4B53-9D3B-301F3DAF89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219" y="2581717"/>
            <a:ext cx="6754717" cy="2622032"/>
          </a:xfrm>
          <a:prstGeom prst="rect">
            <a:avLst/>
          </a:prstGeom>
        </p:spPr>
      </p:pic>
      <p:pic>
        <p:nvPicPr>
          <p:cNvPr id="12" name="Grafik 11" descr="Datenbank">
            <a:extLst>
              <a:ext uri="{FF2B5EF4-FFF2-40B4-BE49-F238E27FC236}">
                <a16:creationId xmlns:a16="http://schemas.microsoft.com/office/drawing/2014/main" id="{55ACFD28-F64E-4447-8658-3E2E48F25C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7792" y="3958199"/>
            <a:ext cx="1369375" cy="136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8253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proach – Parameter </a:t>
            </a:r>
            <a:r>
              <a:rPr lang="de-DE" dirty="0" err="1"/>
              <a:t>Discretization</a:t>
            </a:r>
            <a:r>
              <a:rPr lang="de-DE" dirty="0"/>
              <a:t> Model – Phase 1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2058988"/>
            <a:ext cx="8209160" cy="43942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b="1" dirty="0"/>
          </a:p>
          <a:p>
            <a:pPr marL="0" indent="0"/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4166A8D-963D-4130-A1F7-AD6E3007D2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2335576"/>
            <a:ext cx="8065144" cy="3919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5714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proach – Parameter </a:t>
            </a:r>
            <a:r>
              <a:rPr lang="de-DE" dirty="0" err="1"/>
              <a:t>Discretization</a:t>
            </a:r>
            <a:r>
              <a:rPr lang="de-DE" dirty="0"/>
              <a:t> Model – Phase 2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9512" y="2058988"/>
            <a:ext cx="8209160" cy="43942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Generation </a:t>
            </a:r>
            <a:r>
              <a:rPr lang="de-DE" sz="1800" dirty="0" err="1"/>
              <a:t>of</a:t>
            </a:r>
            <a:r>
              <a:rPr lang="de-DE" sz="1800" dirty="0"/>
              <a:t> </a:t>
            </a:r>
            <a:r>
              <a:rPr lang="de-DE" sz="1800" dirty="0" err="1"/>
              <a:t>random</a:t>
            </a:r>
            <a:r>
              <a:rPr lang="de-DE" sz="1800" dirty="0"/>
              <a:t> </a:t>
            </a:r>
            <a:r>
              <a:rPr lang="de-DE" sz="1800" dirty="0" err="1"/>
              <a:t>bitstrings</a:t>
            </a:r>
            <a:r>
              <a:rPr lang="de-DE" sz="1800" dirty="0"/>
              <a:t> in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length</a:t>
            </a:r>
            <a:r>
              <a:rPr lang="de-DE" sz="1800" dirty="0"/>
              <a:t> </a:t>
            </a:r>
            <a:r>
              <a:rPr lang="de-DE" sz="1800" dirty="0" err="1"/>
              <a:t>of</a:t>
            </a:r>
            <a:r>
              <a:rPr lang="de-DE" sz="1800" dirty="0"/>
              <a:t> all </a:t>
            </a:r>
            <a:r>
              <a:rPr lang="de-DE" sz="1800" dirty="0" err="1"/>
              <a:t>clusterborders</a:t>
            </a:r>
            <a:endParaRPr lang="de-DE" sz="1800" dirty="0"/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/>
              <a:t>|1110000110001100100100110000111|10001001000000101110111011|01010001110010101100110101010111111100001110011110111011110000100000101000001101110000001010101100100000001011011110100111|110111000011101010100000011000111011111001|0001011111001111100110111111111011000101|01001000001110010010011111010111111|01110000000100101110001110100101000010001001110000011100111001011010101|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dirty="0" err="1"/>
              <a:t>Application</a:t>
            </a:r>
            <a:r>
              <a:rPr lang="de-DE" sz="1800" dirty="0"/>
              <a:t> </a:t>
            </a:r>
            <a:r>
              <a:rPr lang="de-DE" sz="1800" dirty="0" err="1"/>
              <a:t>to</a:t>
            </a:r>
            <a:r>
              <a:rPr lang="de-DE" sz="1800" dirty="0"/>
              <a:t> </a:t>
            </a:r>
            <a:r>
              <a:rPr lang="de-DE" sz="1800" dirty="0" err="1"/>
              <a:t>the</a:t>
            </a:r>
            <a:r>
              <a:rPr lang="de-DE" sz="1800" dirty="0"/>
              <a:t> </a:t>
            </a:r>
            <a:r>
              <a:rPr lang="de-DE" sz="1800" dirty="0" err="1"/>
              <a:t>base</a:t>
            </a:r>
            <a:r>
              <a:rPr lang="de-DE" sz="1800" dirty="0"/>
              <a:t> </a:t>
            </a:r>
            <a:r>
              <a:rPr lang="de-DE" sz="1800" dirty="0" err="1"/>
              <a:t>Discretization</a:t>
            </a:r>
            <a:r>
              <a:rPr lang="de-DE" sz="1800" dirty="0"/>
              <a:t> Model.</a:t>
            </a:r>
          </a:p>
          <a:p>
            <a:pPr marL="800100" lvl="1" indent="-342900"/>
            <a:r>
              <a:rPr lang="de-DE" sz="1800" dirty="0"/>
              <a:t>0 = Use </a:t>
            </a:r>
            <a:r>
              <a:rPr lang="de-DE" sz="1800" dirty="0" err="1"/>
              <a:t>Clusterborder</a:t>
            </a:r>
            <a:endParaRPr lang="de-DE" sz="1800" dirty="0"/>
          </a:p>
          <a:p>
            <a:pPr marL="800100" lvl="1" indent="-342900"/>
            <a:r>
              <a:rPr lang="de-DE" sz="1800" dirty="0"/>
              <a:t>1 = </a:t>
            </a:r>
            <a:r>
              <a:rPr lang="de-DE" sz="1800" dirty="0" err="1"/>
              <a:t>Discard</a:t>
            </a:r>
            <a:r>
              <a:rPr lang="de-DE" sz="1800" dirty="0"/>
              <a:t> </a:t>
            </a:r>
            <a:r>
              <a:rPr lang="de-DE" sz="1800" dirty="0" err="1"/>
              <a:t>Clusterborder</a:t>
            </a:r>
            <a:endParaRPr lang="de-DE" sz="1800" dirty="0"/>
          </a:p>
          <a:p>
            <a:pPr>
              <a:buFont typeface="Arial" panose="020B0604020202020204" pitchFamily="34" charset="0"/>
              <a:buChar char="•"/>
            </a:pPr>
            <a:endParaRPr lang="de-DE" sz="1800" b="1" dirty="0"/>
          </a:p>
          <a:p>
            <a:pPr>
              <a:buFont typeface="Arial" panose="020B0604020202020204" pitchFamily="34" charset="0"/>
              <a:buChar char="•"/>
            </a:pPr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1D964-BCA4-4114-A609-C1637E919B06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D4DCB8A-C5DE-4575-982B-C7D0C835A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6736" y="-68101"/>
            <a:ext cx="2294384" cy="96794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F6732C-6862-4895-9CAC-37156CAA7C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140" y="176956"/>
            <a:ext cx="1762775" cy="497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970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utzerdefiniertes Design">
  <a:themeElements>
    <a:clrScheme name="Benutzerdefiniertes Design 13">
      <a:dk1>
        <a:srgbClr val="8F9092"/>
      </a:dk1>
      <a:lt1>
        <a:srgbClr val="FFFFFF"/>
      </a:lt1>
      <a:dk2>
        <a:srgbClr val="99C555"/>
      </a:dk2>
      <a:lt2>
        <a:srgbClr val="808080"/>
      </a:lt2>
      <a:accent1>
        <a:srgbClr val="B5D483"/>
      </a:accent1>
      <a:accent2>
        <a:srgbClr val="8F9092"/>
      </a:accent2>
      <a:accent3>
        <a:srgbClr val="FFFFFF"/>
      </a:accent3>
      <a:accent4>
        <a:srgbClr val="797A7C"/>
      </a:accent4>
      <a:accent5>
        <a:srgbClr val="D7E6C1"/>
      </a:accent5>
      <a:accent6>
        <a:srgbClr val="818284"/>
      </a:accent6>
      <a:hlink>
        <a:srgbClr val="EF7B00"/>
      </a:hlink>
      <a:folHlink>
        <a:srgbClr val="99CC00"/>
      </a:folHlink>
    </a:clrScheme>
    <a:fontScheme name="Benutzerdefiniertes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3">
        <a:dk1>
          <a:srgbClr val="8F9092"/>
        </a:dk1>
        <a:lt1>
          <a:srgbClr val="FFFFFF"/>
        </a:lt1>
        <a:dk2>
          <a:srgbClr val="99C555"/>
        </a:dk2>
        <a:lt2>
          <a:srgbClr val="808080"/>
        </a:lt2>
        <a:accent1>
          <a:srgbClr val="B5D483"/>
        </a:accent1>
        <a:accent2>
          <a:srgbClr val="8F9092"/>
        </a:accent2>
        <a:accent3>
          <a:srgbClr val="FFFFFF"/>
        </a:accent3>
        <a:accent4>
          <a:srgbClr val="797A7C"/>
        </a:accent4>
        <a:accent5>
          <a:srgbClr val="D7E6C1"/>
        </a:accent5>
        <a:accent6>
          <a:srgbClr val="818284"/>
        </a:accent6>
        <a:hlink>
          <a:srgbClr val="EF7B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vent1 xmlns="daae4bc1-aed1-46b1-9495-c5e7d68f79c4" xsi:nil="true"/>
    <Gehalten_x0020_am xmlns="daae4bc1-aed1-46b1-9495-c5e7d68f79c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Einzelpräsentation" ma:contentTypeID="0x010100E296621D1A0F694BB002795687CA6395005A4B047667D984498DD336282C03343C" ma:contentTypeVersion="5" ma:contentTypeDescription="Einzelpräsentation im Arbeitsbereich Events" ma:contentTypeScope="" ma:versionID="94f541e1f76b0ac154f6503f0d318182">
  <xsd:schema xmlns:xsd="http://www.w3.org/2001/XMLSchema" xmlns:xs="http://www.w3.org/2001/XMLSchema" xmlns:p="http://schemas.microsoft.com/office/2006/metadata/properties" xmlns:ns2="daae4bc1-aed1-46b1-9495-c5e7d68f79c4" xmlns:ns3="02e2f80e-7f93-4fae-930e-7a180783f670" targetNamespace="http://schemas.microsoft.com/office/2006/metadata/properties" ma:root="true" ma:fieldsID="a6fb5863451fbf1472843a74518524f2" ns2:_="" ns3:_="">
    <xsd:import namespace="daae4bc1-aed1-46b1-9495-c5e7d68f79c4"/>
    <xsd:import namespace="02e2f80e-7f93-4fae-930e-7a180783f670"/>
    <xsd:element name="properties">
      <xsd:complexType>
        <xsd:sequence>
          <xsd:element name="documentManagement">
            <xsd:complexType>
              <xsd:all>
                <xsd:element ref="ns2:Event1" minOccurs="0"/>
                <xsd:element ref="ns2:Gehalten_x0020_am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ae4bc1-aed1-46b1-9495-c5e7d68f79c4" elementFormDefault="qualified">
    <xsd:import namespace="http://schemas.microsoft.com/office/2006/documentManagement/types"/>
    <xsd:import namespace="http://schemas.microsoft.com/office/infopath/2007/PartnerControls"/>
    <xsd:element name="Event1" ma:index="8" nillable="true" ma:displayName="Event" ma:internalName="Event1">
      <xsd:simpleType>
        <xsd:restriction base="dms:Text">
          <xsd:maxLength value="255"/>
        </xsd:restriction>
      </xsd:simpleType>
    </xsd:element>
    <xsd:element name="Gehalten_x0020_am" ma:index="9" nillable="true" ma:displayName="Gehalten am" ma:format="DateOnly" ma:internalName="Gehalten_x0020_am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e2f80e-7f93-4fae-930e-7a180783f67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697C1E-2C64-49A8-B0B7-1880876C82C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E6C441E-8334-42C0-8645-CAB11FC6ABFA}">
  <ds:schemaRefs>
    <ds:schemaRef ds:uri="http://schemas.microsoft.com/office/2006/metadata/properties"/>
    <ds:schemaRef ds:uri="http://schemas.microsoft.com/office/infopath/2007/PartnerControls"/>
    <ds:schemaRef ds:uri="daae4bc1-aed1-46b1-9495-c5e7d68f79c4"/>
  </ds:schemaRefs>
</ds:datastoreItem>
</file>

<file path=customXml/itemProps3.xml><?xml version="1.0" encoding="utf-8"?>
<ds:datastoreItem xmlns:ds="http://schemas.openxmlformats.org/officeDocument/2006/customXml" ds:itemID="{F006BE64-AE2A-4BA8-8EE9-5953EB9189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ae4bc1-aed1-46b1-9495-c5e7d68f79c4"/>
    <ds:schemaRef ds:uri="02e2f80e-7f93-4fae-930e-7a180783f6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63</Words>
  <Application>Microsoft Office PowerPoint</Application>
  <PresentationFormat>Bildschirmpräsentation (4:3)</PresentationFormat>
  <Paragraphs>106</Paragraphs>
  <Slides>1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2" baseType="lpstr">
      <vt:lpstr>Arial</vt:lpstr>
      <vt:lpstr>Calibri</vt:lpstr>
      <vt:lpstr>Calibri Light</vt:lpstr>
      <vt:lpstr>Wingdings</vt:lpstr>
      <vt:lpstr>Benutzerdefiniertes Design</vt:lpstr>
      <vt:lpstr>1_Benutzerdefiniertes Design</vt:lpstr>
      <vt:lpstr>2_Benutzerdefiniertes Design</vt:lpstr>
      <vt:lpstr>think-cell Folie</vt:lpstr>
      <vt:lpstr>Towards Trace-Graphs for Data-driven Test Case Mining in the Domain of Automated Driving  </vt:lpstr>
      <vt:lpstr>Agenda</vt:lpstr>
      <vt:lpstr>Motivation</vt:lpstr>
      <vt:lpstr>Approach – Data</vt:lpstr>
      <vt:lpstr>Approach – Trace Graph Transformation</vt:lpstr>
      <vt:lpstr>Approach – Trace Graph Coverage</vt:lpstr>
      <vt:lpstr>Approach – Parameter Discretization Model</vt:lpstr>
      <vt:lpstr>Approach – Parameter Discretization Model – Phase 1</vt:lpstr>
      <vt:lpstr>Approach – Parameter Discretization Model – Phase 2</vt:lpstr>
      <vt:lpstr>Approach – Parameter Discretization Model – Phase 2</vt:lpstr>
      <vt:lpstr>Evaluation - Data</vt:lpstr>
      <vt:lpstr>Evaluation - Design</vt:lpstr>
      <vt:lpstr>Evaluation - Results</vt:lpstr>
      <vt:lpstr>Evaluation - Results</vt:lpstr>
    </vt:vector>
  </TitlesOfParts>
  <Company>trio-group communication &amp; marketing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c.faulhaber</dc:creator>
  <cp:lastModifiedBy>Noah  Metzger</cp:lastModifiedBy>
  <cp:revision>1752</cp:revision>
  <cp:lastPrinted>2015-03-02T07:53:34Z</cp:lastPrinted>
  <dcterms:created xsi:type="dcterms:W3CDTF">2011-05-04T08:43:47Z</dcterms:created>
  <dcterms:modified xsi:type="dcterms:W3CDTF">2021-08-24T22:4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296621D1A0F694BB002795687CA6395005A4B047667D984498DD336282C03343C</vt:lpwstr>
  </property>
</Properties>
</file>